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710" r:id="rId5"/>
    <p:sldMasterId id="2147483869" r:id="rId6"/>
  </p:sldMasterIdLst>
  <p:notesMasterIdLst>
    <p:notesMasterId r:id="rId22"/>
  </p:notesMasterIdLst>
  <p:sldIdLst>
    <p:sldId id="500" r:id="rId7"/>
    <p:sldId id="2142533203" r:id="rId8"/>
    <p:sldId id="2142533204" r:id="rId9"/>
    <p:sldId id="2142533211" r:id="rId10"/>
    <p:sldId id="2142533205" r:id="rId11"/>
    <p:sldId id="2142533212" r:id="rId12"/>
    <p:sldId id="2142533206" r:id="rId13"/>
    <p:sldId id="2142533213" r:id="rId14"/>
    <p:sldId id="2142533207" r:id="rId15"/>
    <p:sldId id="2142533214" r:id="rId16"/>
    <p:sldId id="2142533208" r:id="rId17"/>
    <p:sldId id="2142533215" r:id="rId18"/>
    <p:sldId id="2142533209" r:id="rId19"/>
    <p:sldId id="2142533216" r:id="rId20"/>
    <p:sldId id="29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1601EA6-976F-ED47-B1E5-351FD3307585}">
          <p14:sldIdLst>
            <p14:sldId id="500"/>
            <p14:sldId id="2142533203"/>
          </p14:sldIdLst>
        </p14:section>
        <p14:section name="Onboard" id="{6F5AEC36-01B5-6446-B62F-2181DD70D448}">
          <p14:sldIdLst>
            <p14:sldId id="2142533204"/>
            <p14:sldId id="2142533211"/>
          </p14:sldIdLst>
        </p14:section>
        <p14:section name="Implement" id="{C9D6BEB2-5654-4E49-A520-CFA5B82DC996}">
          <p14:sldIdLst>
            <p14:sldId id="2142533205"/>
            <p14:sldId id="2142533212"/>
          </p14:sldIdLst>
        </p14:section>
        <p14:section name="Use" id="{DF726D2A-B63E-DC49-AFAB-89735CBC81C5}">
          <p14:sldIdLst>
            <p14:sldId id="2142533206"/>
            <p14:sldId id="2142533213"/>
          </p14:sldIdLst>
        </p14:section>
        <p14:section name="Engage" id="{7DC08C9C-A605-4F4E-9E48-9F8FB78341D2}">
          <p14:sldIdLst>
            <p14:sldId id="2142533207"/>
            <p14:sldId id="2142533214"/>
          </p14:sldIdLst>
        </p14:section>
        <p14:section name="Adopt" id="{DA3DE0CE-60A9-9544-A6DD-3A3B4524C955}">
          <p14:sldIdLst>
            <p14:sldId id="2142533208"/>
            <p14:sldId id="2142533215"/>
          </p14:sldIdLst>
        </p14:section>
        <p14:section name="Optimize" id="{1F9DEA62-2586-1D47-9AD6-98B9589BD6A6}">
          <p14:sldIdLst>
            <p14:sldId id="2142533209"/>
            <p14:sldId id="2142533216"/>
          </p14:sldIdLst>
        </p14:section>
        <p14:section name="Recommendation" id="{7158982D-EDD8-AD4C-995D-4209A00D6863}">
          <p14:sldIdLst>
            <p14:sldId id="29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 Long (samlong)" initials="S(" lastIdx="3" clrIdx="0">
    <p:extLst>
      <p:ext uri="{19B8F6BF-5375-455C-9EA6-DF929625EA0E}">
        <p15:presenceInfo xmlns:p15="http://schemas.microsoft.com/office/powerpoint/2012/main" userId="S::samlong@cisco.com::443d9e39-f743-4c59-a022-82084f7e16ee" providerId="AD"/>
      </p:ext>
    </p:extLst>
  </p:cmAuthor>
  <p:cmAuthor id="2" name="Devanne Parent (deparent)" initials="DP(" lastIdx="2" clrIdx="1">
    <p:extLst>
      <p:ext uri="{19B8F6BF-5375-455C-9EA6-DF929625EA0E}">
        <p15:presenceInfo xmlns:p15="http://schemas.microsoft.com/office/powerpoint/2012/main" userId="S::deparent@cisco.com::2b371fcf-417a-4a08-8b19-42dade249c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48FAAB-87D4-C540-A5E0-E181763F0DC2}" v="6" dt="2022-12-09T15:24:15.927"/>
    <p1510:client id="{66BE813D-85BF-5C73-E236-A45156E57770}" v="19" dt="2022-12-09T17:38:16.978"/>
    <p1510:client id="{89A3D6A0-660E-F46C-FEA1-697E70F3E6C8}" v="462" dt="2023-03-14T14:55:15.8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84"/>
    <p:restoredTop sz="94720"/>
  </p:normalViewPr>
  <p:slideViewPr>
    <p:cSldViewPr snapToGrid="0">
      <p:cViewPr varScale="1">
        <p:scale>
          <a:sx n="211" d="100"/>
          <a:sy n="211" d="100"/>
        </p:scale>
        <p:origin x="1632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657A2-7B7A-174B-A542-3B4C9FC943CD}" type="datetimeFigureOut">
              <a:rPr lang="en-US" smtClean="0"/>
              <a:t>5/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E6723D-4E20-2747-B1F0-073EAB158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242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570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942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5994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2335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425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992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59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442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9423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167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1078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27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63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45553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95FC5A4-56CD-7842-9E27-FC5F2E436A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79107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0E4CE44-9D4E-3945-998B-3F4183B97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47015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Graphic 5">
            <a:extLst>
              <a:ext uri="{FF2B5EF4-FFF2-40B4-BE49-F238E27FC236}">
                <a16:creationId xmlns:a16="http://schemas.microsoft.com/office/drawing/2014/main" id="{959B630C-44FD-7144-8D88-9B15DEA70B7D}"/>
              </a:ext>
            </a:extLst>
          </p:cNvPr>
          <p:cNvSpPr/>
          <p:nvPr userDrawn="1"/>
        </p:nvSpPr>
        <p:spPr>
          <a:xfrm>
            <a:off x="11279833" y="5528672"/>
            <a:ext cx="564504" cy="1069869"/>
          </a:xfrm>
          <a:custGeom>
            <a:avLst/>
            <a:gdLst>
              <a:gd name="connsiteX0" fmla="*/ 56424 w 1000125"/>
              <a:gd name="connsiteY0" fmla="*/ 1642336 h 1895475"/>
              <a:gd name="connsiteX1" fmla="*/ 74520 w 1000125"/>
              <a:gd name="connsiteY1" fmla="*/ 1866173 h 1895475"/>
              <a:gd name="connsiteX2" fmla="*/ 299311 w 1000125"/>
              <a:gd name="connsiteY2" fmla="*/ 1848076 h 1895475"/>
              <a:gd name="connsiteX3" fmla="*/ 971775 w 1000125"/>
              <a:gd name="connsiteY3" fmla="*/ 1060358 h 1895475"/>
              <a:gd name="connsiteX4" fmla="*/ 970824 w 1000125"/>
              <a:gd name="connsiteY4" fmla="*/ 854618 h 1895475"/>
              <a:gd name="connsiteX5" fmla="*/ 280261 w 1000125"/>
              <a:gd name="connsiteY5" fmla="*/ 55470 h 1895475"/>
              <a:gd name="connsiteX6" fmla="*/ 55470 w 1000125"/>
              <a:gd name="connsiteY6" fmla="*/ 38326 h 1895475"/>
              <a:gd name="connsiteX7" fmla="*/ 38326 w 1000125"/>
              <a:gd name="connsiteY7" fmla="*/ 262163 h 1895475"/>
              <a:gd name="connsiteX8" fmla="*/ 639353 w 1000125"/>
              <a:gd name="connsiteY8" fmla="*/ 958441 h 1895475"/>
              <a:gd name="connsiteX9" fmla="*/ 56424 w 1000125"/>
              <a:gd name="connsiteY9" fmla="*/ 1642336 h 189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00125" h="1895475">
                <a:moveTo>
                  <a:pt x="56424" y="1642336"/>
                </a:moveTo>
                <a:cubicBezTo>
                  <a:pt x="-726" y="1709011"/>
                  <a:pt x="7845" y="1809023"/>
                  <a:pt x="74520" y="1866173"/>
                </a:cubicBezTo>
                <a:cubicBezTo>
                  <a:pt x="142149" y="1923323"/>
                  <a:pt x="242161" y="1914751"/>
                  <a:pt x="299311" y="1848076"/>
                </a:cubicBezTo>
                <a:lnTo>
                  <a:pt x="971775" y="1060358"/>
                </a:lnTo>
                <a:cubicBezTo>
                  <a:pt x="1022258" y="1001303"/>
                  <a:pt x="1022258" y="913673"/>
                  <a:pt x="970824" y="854618"/>
                </a:cubicBezTo>
                <a:lnTo>
                  <a:pt x="280261" y="55470"/>
                </a:lnTo>
                <a:cubicBezTo>
                  <a:pt x="223111" y="-11205"/>
                  <a:pt x="122145" y="-18824"/>
                  <a:pt x="55470" y="38326"/>
                </a:cubicBezTo>
                <a:cubicBezTo>
                  <a:pt x="-11205" y="95476"/>
                  <a:pt x="-18824" y="195488"/>
                  <a:pt x="38326" y="262163"/>
                </a:cubicBezTo>
                <a:lnTo>
                  <a:pt x="639353" y="958441"/>
                </a:lnTo>
                <a:lnTo>
                  <a:pt x="56424" y="1642336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592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444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31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92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3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6172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1946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5883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1154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3112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632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927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9523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260270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1483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8193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45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5335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7634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4451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056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9399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4055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1687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368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7359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636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54743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45809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473208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18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2509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327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2093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72431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3648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44649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6861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46" r:id="rId36"/>
    <p:sldLayoutId id="2147483748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690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945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907" r:id="rId36"/>
    <p:sldLayoutId id="2147483944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  <p:sldLayoutId id="2147483883" r:id="rId14"/>
    <p:sldLayoutId id="2147483884" r:id="rId15"/>
    <p:sldLayoutId id="2147483885" r:id="rId16"/>
    <p:sldLayoutId id="2147483886" r:id="rId17"/>
    <p:sldLayoutId id="2147483887" r:id="rId18"/>
    <p:sldLayoutId id="2147483888" r:id="rId19"/>
    <p:sldLayoutId id="2147483889" r:id="rId20"/>
    <p:sldLayoutId id="2147483890" r:id="rId21"/>
    <p:sldLayoutId id="2147483891" r:id="rId22"/>
    <p:sldLayoutId id="2147483892" r:id="rId23"/>
    <p:sldLayoutId id="2147483893" r:id="rId24"/>
    <p:sldLayoutId id="2147483894" r:id="rId25"/>
    <p:sldLayoutId id="2147483895" r:id="rId26"/>
    <p:sldLayoutId id="2147483896" r:id="rId27"/>
    <p:sldLayoutId id="2147483897" r:id="rId28"/>
    <p:sldLayoutId id="2147483898" r:id="rId29"/>
    <p:sldLayoutId id="2147483899" r:id="rId30"/>
    <p:sldLayoutId id="2147483900" r:id="rId31"/>
    <p:sldLayoutId id="2147483901" r:id="rId32"/>
    <p:sldLayoutId id="2147483902" r:id="rId33"/>
    <p:sldLayoutId id="2147483903" r:id="rId34"/>
    <p:sldLayoutId id="2147483904" r:id="rId35"/>
    <p:sldLayoutId id="2147483863" r:id="rId36"/>
    <p:sldLayoutId id="2147483862" r:id="rId37"/>
    <p:sldLayoutId id="2147483864" r:id="rId38"/>
    <p:sldLayoutId id="2147483868" r:id="rId39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E1F6C0B-99D4-A945-81F9-205E53107B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375" y="2120900"/>
            <a:ext cx="11017250" cy="2034963"/>
          </a:xfrm>
        </p:spPr>
        <p:txBody>
          <a:bodyPr/>
          <a:lstStyle/>
          <a:p>
            <a:r>
              <a:rPr lang="en-US" sz="4400" dirty="0"/>
              <a:t>Hybrid Application Monitoring (AppDynamic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C69994-683F-48DA-9C07-7A201D148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046" y="4362452"/>
            <a:ext cx="11017908" cy="398668"/>
          </a:xfrm>
        </p:spPr>
        <p:txBody>
          <a:bodyPr/>
          <a:lstStyle/>
          <a:p>
            <a:r>
              <a:rPr lang="en-US" sz="1600" dirty="0"/>
              <a:t>Maturity Assessment Report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C0A30373-56F0-3840-8058-8F1E4CEC9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150" y="676533"/>
            <a:ext cx="25273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B7FFABE-CA84-AF9D-0DA6-504AEB3CE447}"/>
              </a:ext>
            </a:extLst>
          </p:cNvPr>
          <p:cNvSpPr txBox="1">
            <a:spLocks/>
          </p:cNvSpPr>
          <p:nvPr/>
        </p:nvSpPr>
        <p:spPr>
          <a:xfrm>
            <a:off x="587375" y="3956529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l" defTabSz="912261" rtl="0" eaLnBrk="1" fontAlgn="base" hangingPunct="1">
              <a:lnSpc>
                <a:spcPct val="95000"/>
              </a:lnSpc>
              <a:spcBef>
                <a:spcPts val="1433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en-US" sz="2933" b="0" i="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TT ExtraLight"/>
              </a:defRPr>
            </a:lvl1pPr>
            <a:lvl2pPr marL="406365" indent="0" algn="l" defTabSz="912261" rtl="0" eaLnBrk="1" fontAlgn="base" hangingPunct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charset="0"/>
              <a:buNone/>
              <a:tabLst/>
              <a:defRPr lang="en-US" sz="18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569854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SzPct val="80000"/>
              <a:buFont typeface="Arial" charset="0"/>
              <a:buNone/>
              <a:tabLst/>
              <a:defRPr lang="en-US" sz="1600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6889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8016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1151779" indent="-228588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761" indent="-228557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0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3" indent="0" algn="l" defTabSz="914346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74" indent="-228588" algn="l" defTabSz="9143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gital Journey Overview </a:t>
            </a:r>
          </a:p>
        </p:txBody>
      </p:sp>
    </p:spTree>
    <p:extLst>
      <p:ext uri="{BB962C8B-B14F-4D97-AF65-F5344CB8AC3E}">
        <p14:creationId xmlns:p14="http://schemas.microsoft.com/office/powerpoint/2010/main" val="2692027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Engag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39C740-C4DF-8F92-A188-9862C9E80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17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Adop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3BEE68-9FCC-8AB0-4762-9CF2BA8D9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5B72566-DFAF-8188-7BE9-D10802F31119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4045123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Adop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ADF4DF-E590-C877-5FE6-F67795C8B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409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ptimiz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B8DABB-FB77-F100-7E69-2F9A9FD683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AC95FE3-C927-E8C7-2281-2142FB8FACB9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2318597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ptimiz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68BB0B-0397-3C39-02E8-3258B8F19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3370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8262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7647DC6-AD65-040C-17F4-ECD01960D9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223" y="1012418"/>
            <a:ext cx="9678882" cy="4833164"/>
          </a:xfrm>
          <a:prstGeom prst="rect">
            <a:avLst/>
          </a:prstGeom>
        </p:spPr>
      </p:pic>
      <p:sp>
        <p:nvSpPr>
          <p:cNvPr id="9" name="onboard">
            <a:extLst>
              <a:ext uri="{FF2B5EF4-FFF2-40B4-BE49-F238E27FC236}">
                <a16:creationId xmlns:a16="http://schemas.microsoft.com/office/drawing/2014/main" id="{BF24A7DF-BCC3-16FE-78C3-BAA51DF80EDF}"/>
              </a:ext>
            </a:extLst>
          </p:cNvPr>
          <p:cNvSpPr/>
          <p:nvPr/>
        </p:nvSpPr>
        <p:spPr>
          <a:xfrm>
            <a:off x="6774603" y="4601817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implement">
            <a:extLst>
              <a:ext uri="{FF2B5EF4-FFF2-40B4-BE49-F238E27FC236}">
                <a16:creationId xmlns:a16="http://schemas.microsoft.com/office/drawing/2014/main" id="{E2E46277-3C02-B94E-1343-DECE87E5D105}"/>
              </a:ext>
            </a:extLst>
          </p:cNvPr>
          <p:cNvSpPr/>
          <p:nvPr/>
        </p:nvSpPr>
        <p:spPr>
          <a:xfrm>
            <a:off x="7467601" y="4719572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use">
            <a:extLst>
              <a:ext uri="{FF2B5EF4-FFF2-40B4-BE49-F238E27FC236}">
                <a16:creationId xmlns:a16="http://schemas.microsoft.com/office/drawing/2014/main" id="{F142D7AB-3BF8-C785-87BA-C35ACB6989A3}"/>
              </a:ext>
            </a:extLst>
          </p:cNvPr>
          <p:cNvSpPr/>
          <p:nvPr/>
        </p:nvSpPr>
        <p:spPr>
          <a:xfrm>
            <a:off x="7997010" y="4502622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engage">
            <a:extLst>
              <a:ext uri="{FF2B5EF4-FFF2-40B4-BE49-F238E27FC236}">
                <a16:creationId xmlns:a16="http://schemas.microsoft.com/office/drawing/2014/main" id="{3B863E63-6B1B-6B19-5B9F-69B764267259}"/>
              </a:ext>
            </a:extLst>
          </p:cNvPr>
          <p:cNvSpPr/>
          <p:nvPr/>
        </p:nvSpPr>
        <p:spPr>
          <a:xfrm>
            <a:off x="8384482" y="4135759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adopt">
            <a:extLst>
              <a:ext uri="{FF2B5EF4-FFF2-40B4-BE49-F238E27FC236}">
                <a16:creationId xmlns:a16="http://schemas.microsoft.com/office/drawing/2014/main" id="{2C3A9A40-7DA7-1F77-A03A-8355517DFA24}"/>
              </a:ext>
            </a:extLst>
          </p:cNvPr>
          <p:cNvSpPr/>
          <p:nvPr/>
        </p:nvSpPr>
        <p:spPr>
          <a:xfrm>
            <a:off x="8536269" y="3544132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ptimize">
            <a:extLst>
              <a:ext uri="{FF2B5EF4-FFF2-40B4-BE49-F238E27FC236}">
                <a16:creationId xmlns:a16="http://schemas.microsoft.com/office/drawing/2014/main" id="{B76DC9F7-99F8-AC70-EBAF-902ACA7BA6F2}"/>
              </a:ext>
            </a:extLst>
          </p:cNvPr>
          <p:cNvSpPr/>
          <p:nvPr/>
        </p:nvSpPr>
        <p:spPr>
          <a:xfrm>
            <a:off x="8436878" y="3171168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883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nboar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FB3AE06-CD10-6301-2E59-5CC1B050A54D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402000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nboard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s </a:t>
            </a: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and document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322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15C847-78CB-497C-C9A1-652748002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ABA37A8-EDAD-637D-4E63-050B2904681B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2982117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7E5ECC-9D8D-EC66-1C17-E4D8FD9F8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9994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U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8E5D156-7A0A-7014-8959-C44CBF583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89E61C4-44A8-FB71-60FD-FEF531078E87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3699044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Us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4E400C-A9E6-789C-84E9-B86CF70D3E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8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Eng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1BC433-9DC1-CE3A-E1C2-BCA8425811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AD8280-2AE6-A913-8BA7-DD65D7A433C5}"/>
              </a:ext>
            </a:extLst>
          </p:cNvPr>
          <p:cNvSpPr txBox="1"/>
          <p:nvPr/>
        </p:nvSpPr>
        <p:spPr>
          <a:xfrm>
            <a:off x="9073680" y="6077191"/>
            <a:ext cx="2948243" cy="21544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800" dirty="0">
                <a:latin typeface="+mn-lt"/>
              </a:rPr>
              <a:t>*** see the next page for feedback on health checks </a:t>
            </a:r>
            <a:r>
              <a:rPr lang="en-US" sz="800" u="sng" dirty="0">
                <a:latin typeface="+mn-lt"/>
              </a:rPr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3914242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heme/theme1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97DE6E81-52B7-1F48-BB61-B5D323067DE0}"/>
    </a:ext>
  </a:extLst>
</a:theme>
</file>

<file path=ppt/theme/theme2.xml><?xml version="1.0" encoding="utf-8"?>
<a:theme xmlns:a="http://schemas.openxmlformats.org/drawingml/2006/main" name="1_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A5974E8F-F14F-284C-859C-34AD9D92255C}"/>
    </a:ext>
  </a:extLst>
</a:theme>
</file>

<file path=ppt/theme/theme3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2B2F4A38-316E-6C42-8D17-A3D36C7F02E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638FBC164A6C4987893577CA81BDCE" ma:contentTypeVersion="12" ma:contentTypeDescription="Create a new document." ma:contentTypeScope="" ma:versionID="ad216d817d9e9210cab45cf1c00ab7cf">
  <xsd:schema xmlns:xsd="http://www.w3.org/2001/XMLSchema" xmlns:xs="http://www.w3.org/2001/XMLSchema" xmlns:p="http://schemas.microsoft.com/office/2006/metadata/properties" xmlns:ns2="c068e80e-f499-4ba4-b97d-8eb81f7bf0a4" xmlns:ns3="d78665ad-f783-4f30-b3cb-b870e5173973" targetNamespace="http://schemas.microsoft.com/office/2006/metadata/properties" ma:root="true" ma:fieldsID="b03d820719e6014dead3958bf2973f6f" ns2:_="" ns3:_="">
    <xsd:import namespace="c068e80e-f499-4ba4-b97d-8eb81f7bf0a4"/>
    <xsd:import namespace="d78665ad-f783-4f30-b3cb-b870e51739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8e80e-f499-4ba4-b97d-8eb81f7bf0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10261dd-85c0-4e16-8580-30375acfae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665ad-f783-4f30-b3cb-b870e517397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d4f64d0-3c70-4888-a507-5d4e9df6776e}" ma:internalName="TaxCatchAll" ma:showField="CatchAllData" ma:web="d78665ad-f783-4f30-b3cb-b870e51739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78665ad-f783-4f30-b3cb-b870e5173973" xsi:nil="true"/>
    <lcf76f155ced4ddcb4097134ff3c332f xmlns="c068e80e-f499-4ba4-b97d-8eb81f7bf0a4">
      <Terms xmlns="http://schemas.microsoft.com/office/infopath/2007/PartnerControls"/>
    </lcf76f155ced4ddcb4097134ff3c332f>
    <SharedWithUsers xmlns="d78665ad-f783-4f30-b3cb-b870e5173973">
      <UserInfo>
        <DisplayName>Christine Sumner (chsumner)</DisplayName>
        <AccountId>22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FF5C609-47B2-4E38-98DE-50447A64B0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8e80e-f499-4ba4-b97d-8eb81f7bf0a4"/>
    <ds:schemaRef ds:uri="d78665ad-f783-4f30-b3cb-b870e51739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D849882-45D9-49DF-83E9-35AEA65C5D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A938C6-D422-428A-8901-D36A71A3A66F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180b1fcd-839f-4a26-858f-c876bd57a246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73ca1fc6-0d46-4993-8256-3326399461c5"/>
    <ds:schemaRef ds:uri="http://purl.org/dc/terms/"/>
    <ds:schemaRef ds:uri="d78665ad-f783-4f30-b3cb-b870e5173973"/>
    <ds:schemaRef ds:uri="c068e80e-f499-4ba4-b97d-8eb81f7bf0a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</TotalTime>
  <Words>185</Words>
  <Application>Microsoft Macintosh PowerPoint</Application>
  <PresentationFormat>Widescreen</PresentationFormat>
  <Paragraphs>34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iscoSans ExtraLight</vt:lpstr>
      <vt:lpstr>CiscoSansTT ExtraLight</vt:lpstr>
      <vt:lpstr>CiscoSansTT Light</vt:lpstr>
      <vt:lpstr>CX Theme 16x9</vt:lpstr>
      <vt:lpstr>1_CX Theme 16x9</vt:lpstr>
      <vt:lpstr>CX Theme 16x9</vt:lpstr>
      <vt:lpstr>think-cell Slide</vt:lpstr>
      <vt:lpstr>Hybrid Application Monitoring (AppDynamics)</vt:lpstr>
      <vt:lpstr>PowerPoint Presentation</vt:lpstr>
      <vt:lpstr>Hybrid Application Monitoring  Pitstop: Onboard</vt:lpstr>
      <vt:lpstr>Pitstop: Onboard resources and documents</vt:lpstr>
      <vt:lpstr>Hybrid Application Monitoring  Pitstop: Implement</vt:lpstr>
      <vt:lpstr>Pitstop: Implement has failed health check best-practices</vt:lpstr>
      <vt:lpstr>Hybrid Application Monitoring  Pitstop: Use</vt:lpstr>
      <vt:lpstr>Pitstop: Use has failed health check best-practices</vt:lpstr>
      <vt:lpstr>Hybrid Application Monitoring  Pitstop: Engage</vt:lpstr>
      <vt:lpstr>Pitstop: Engage has failed health check best-practices</vt:lpstr>
      <vt:lpstr>Hybrid Application Monitoring  Pitstop: Adopt</vt:lpstr>
      <vt:lpstr>Pitstop: Adopt has failed health check best-practices</vt:lpstr>
      <vt:lpstr>Hybrid Application Monitoring  Pitstop: Optimize</vt:lpstr>
      <vt:lpstr>Pitstop: Optimize has failed health check best-practi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Alex Afshar (aleafsha)</cp:lastModifiedBy>
  <cp:revision>196</cp:revision>
  <dcterms:created xsi:type="dcterms:W3CDTF">2021-08-23T20:52:35Z</dcterms:created>
  <dcterms:modified xsi:type="dcterms:W3CDTF">2023-05-03T22:3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38FBC164A6C4987893577CA81BDCE</vt:lpwstr>
  </property>
  <property fmtid="{D5CDD505-2E9C-101B-9397-08002B2CF9AE}" pid="3" name="MediaServiceImageTags">
    <vt:lpwstr/>
  </property>
</Properties>
</file>